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2"/>
  </p:notesMasterIdLst>
  <p:sldIdLst>
    <p:sldId id="297" r:id="rId2"/>
    <p:sldId id="572" r:id="rId3"/>
    <p:sldId id="565" r:id="rId4"/>
    <p:sldId id="349" r:id="rId5"/>
    <p:sldId id="444" r:id="rId6"/>
    <p:sldId id="834" r:id="rId7"/>
    <p:sldId id="394" r:id="rId8"/>
    <p:sldId id="395" r:id="rId9"/>
    <p:sldId id="582" r:id="rId10"/>
    <p:sldId id="445" r:id="rId11"/>
    <p:sldId id="397" r:id="rId12"/>
    <p:sldId id="447" r:id="rId13"/>
    <p:sldId id="400" r:id="rId14"/>
    <p:sldId id="401" r:id="rId15"/>
    <p:sldId id="402" r:id="rId16"/>
    <p:sldId id="406" r:id="rId17"/>
    <p:sldId id="837" r:id="rId18"/>
    <p:sldId id="298" r:id="rId19"/>
    <p:sldId id="299" r:id="rId20"/>
    <p:sldId id="350" r:id="rId21"/>
    <p:sldId id="383" r:id="rId22"/>
    <p:sldId id="384" r:id="rId23"/>
    <p:sldId id="385" r:id="rId24"/>
    <p:sldId id="387" r:id="rId25"/>
    <p:sldId id="388" r:id="rId26"/>
    <p:sldId id="389" r:id="rId27"/>
    <p:sldId id="391" r:id="rId28"/>
    <p:sldId id="390" r:id="rId29"/>
    <p:sldId id="448" r:id="rId30"/>
    <p:sldId id="449" r:id="rId31"/>
    <p:sldId id="392" r:id="rId32"/>
    <p:sldId id="450" r:id="rId33"/>
    <p:sldId id="405" r:id="rId34"/>
    <p:sldId id="407" r:id="rId35"/>
    <p:sldId id="408" r:id="rId36"/>
    <p:sldId id="386" r:id="rId37"/>
    <p:sldId id="393" r:id="rId38"/>
    <p:sldId id="410" r:id="rId39"/>
    <p:sldId id="411" r:id="rId40"/>
    <p:sldId id="412" r:id="rId41"/>
    <p:sldId id="413" r:id="rId42"/>
    <p:sldId id="838" r:id="rId43"/>
    <p:sldId id="414" r:id="rId44"/>
    <p:sldId id="451" r:id="rId45"/>
    <p:sldId id="415" r:id="rId46"/>
    <p:sldId id="416" r:id="rId47"/>
    <p:sldId id="418" r:id="rId48"/>
    <p:sldId id="417" r:id="rId49"/>
    <p:sldId id="419" r:id="rId50"/>
    <p:sldId id="420" r:id="rId51"/>
    <p:sldId id="452" r:id="rId52"/>
    <p:sldId id="421" r:id="rId53"/>
    <p:sldId id="422" r:id="rId54"/>
    <p:sldId id="425" r:id="rId55"/>
    <p:sldId id="423" r:id="rId56"/>
    <p:sldId id="424" r:id="rId57"/>
    <p:sldId id="426" r:id="rId58"/>
    <p:sldId id="427" r:id="rId59"/>
    <p:sldId id="428" r:id="rId60"/>
    <p:sldId id="429" r:id="rId61"/>
    <p:sldId id="431" r:id="rId62"/>
    <p:sldId id="453" r:id="rId63"/>
    <p:sldId id="432" r:id="rId64"/>
    <p:sldId id="433" r:id="rId65"/>
    <p:sldId id="438" r:id="rId66"/>
    <p:sldId id="454" r:id="rId67"/>
    <p:sldId id="459" r:id="rId68"/>
    <p:sldId id="457" r:id="rId69"/>
    <p:sldId id="458" r:id="rId70"/>
    <p:sldId id="461" r:id="rId7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80" autoAdjust="0"/>
    <p:restoredTop sz="94162" autoAdjust="0"/>
  </p:normalViewPr>
  <p:slideViewPr>
    <p:cSldViewPr snapToGrid="0">
      <p:cViewPr varScale="1">
        <p:scale>
          <a:sx n="124" d="100"/>
          <a:sy n="124" d="100"/>
        </p:scale>
        <p:origin x="1312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10/1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782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89D838-71A1-4615-8F96-C31ABAB85E01}" type="slidenum">
              <a:rPr lang="en-US" altLang="en-US" sz="1200"/>
              <a:pPr algn="r"/>
              <a:t>7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4255923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237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ncy</a:t>
            </a:r>
            <a:r>
              <a:rPr lang="en-US" baseline="0" dirty="0"/>
              <a:t> way of saying reviewing identical houses but with 1 bedroom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67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/>
              <a:t>std</a:t>
            </a:r>
            <a:r>
              <a:rPr lang="en-US" sz="1200" dirty="0"/>
              <a:t> error is more</a:t>
            </a:r>
            <a:r>
              <a:rPr lang="en-US" sz="1200" baseline="0" dirty="0"/>
              <a:t> than the coefficient you can’t really trust the coefficient since it could be positive or negative…the model couldn’t figure it out.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slide back to script </a:t>
            </a:r>
          </a:p>
          <a:p>
            <a:r>
              <a:rPr lang="en-US" dirty="0" err="1">
                <a:effectLst/>
              </a:rPr>
              <a:t>C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Automatic_clean</a:t>
            </a:r>
            <a:endParaRPr lang="en-US" dirty="0">
              <a:effectLst/>
            </a:endParaRPr>
          </a:p>
          <a:p>
            <a:r>
              <a:rPr lang="en-US" dirty="0" err="1">
                <a:effectLst/>
              </a:rPr>
              <a:t>Met_Color_clean</a:t>
            </a:r>
            <a:endParaRPr lang="en-US" dirty="0">
              <a:effectLst/>
            </a:endParaRPr>
          </a:p>
          <a:p>
            <a:endParaRPr lang="en-US" baseline="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ffectLst/>
              </a:rPr>
              <a:t>Fuel_Type_catP</a:t>
            </a:r>
            <a:r>
              <a:rPr lang="en-US" dirty="0">
                <a:effectLst/>
              </a:rPr>
              <a:t> (prevalence) </a:t>
            </a:r>
            <a:r>
              <a:rPr lang="en-US" dirty="0" err="1">
                <a:effectLst/>
              </a:rPr>
              <a:t>ie</a:t>
            </a:r>
            <a:r>
              <a:rPr lang="en-US" dirty="0">
                <a:effectLst/>
              </a:rPr>
              <a:t>.</a:t>
            </a:r>
            <a:r>
              <a:rPr lang="en-US" baseline="0" dirty="0">
                <a:effectLst/>
              </a:rPr>
              <a:t> 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42% of the time that level appeared.  </a:t>
            </a:r>
            <a:r>
              <a:rPr lang="en-US" sz="1200" b="1" dirty="0" err="1">
                <a:solidFill>
                  <a:srgbClr val="333333"/>
                </a:solidFill>
                <a:latin typeface="Helvetica Neue"/>
              </a:rPr>
              <a:t>X_catP</a:t>
            </a:r>
            <a:r>
              <a:rPr lang="en-US" sz="1200" dirty="0">
                <a:solidFill>
                  <a:srgbClr val="333333"/>
                </a:solidFill>
                <a:latin typeface="Helvetica Neue"/>
              </a:rPr>
              <a:t> =.42 for all level A observ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33333"/>
                </a:solidFill>
                <a:latin typeface="Helvetica Neue"/>
              </a:rPr>
              <a:t>GO</a:t>
            </a:r>
            <a:r>
              <a:rPr lang="en-US" sz="1200" baseline="0" dirty="0">
                <a:solidFill>
                  <a:srgbClr val="333333"/>
                </a:solidFill>
                <a:latin typeface="Helvetica Neue"/>
              </a:rPr>
              <a:t> BACK TO SCRIPT ~LINE60</a:t>
            </a:r>
            <a:endParaRPr lang="en-US" sz="1200" dirty="0">
              <a:solidFill>
                <a:srgbClr val="333333"/>
              </a:solidFill>
              <a:latin typeface="Helvetica Neue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13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8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208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3940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C90C366-52D6-4EF7-AF20-EF2D72A63B49}" type="slidenum">
              <a:rPr lang="en-US" altLang="en-US" smtClean="0"/>
              <a:pPr>
                <a:defRPr/>
              </a:pPr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0191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did carat to diamond prices</a:t>
            </a:r>
          </a:p>
          <a:p>
            <a:r>
              <a:rPr lang="en-US" dirty="0"/>
              <a:t>Now let’s add more than 1 inp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a good model?</a:t>
            </a:r>
          </a:p>
          <a:p>
            <a:r>
              <a:rPr lang="en-US" dirty="0"/>
              <a:t>18 + -18 cancel each other 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469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16/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16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16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16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16/23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16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16/23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16/23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16/23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16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jpe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4" Type="http://schemas.openxmlformats.org/officeDocument/2006/relationships/image" Target="../media/image30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30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16/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fitting, continu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0075" y="1500188"/>
            <a:ext cx="7772400" cy="419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auses: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Too many predictors start to inject noise not signal 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Not adhering to a priori partitioning – </a:t>
            </a:r>
            <a:r>
              <a:rPr lang="en-US" sz="2200" i="1" dirty="0">
                <a:latin typeface="Franklin Gothic Book" pitchFamily="34" charset="0"/>
              </a:rPr>
              <a:t>up next</a:t>
            </a:r>
          </a:p>
          <a:p>
            <a:pPr marL="742950" lvl="1" indent="-285750">
              <a:defRPr/>
            </a:pPr>
            <a:r>
              <a:rPr lang="en-US" sz="2200" dirty="0">
                <a:latin typeface="Franklin Gothic Book" pitchFamily="34" charset="0"/>
              </a:rPr>
              <a:t>Lack of data knowledge &amp; problem understanding</a:t>
            </a:r>
          </a:p>
          <a:p>
            <a:pPr>
              <a:defRPr/>
            </a:pPr>
            <a:endParaRPr lang="en-US" dirty="0">
              <a:latin typeface="Franklin Gothic Book" pitchFamily="34" charset="0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en-US" dirty="0">
                <a:latin typeface="Franklin Gothic Book" pitchFamily="34" charset="0"/>
              </a:rPr>
              <a:t>Consequence:  Deployed model will not work as well as expected with completely new data.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1A5FB38-74F2-5D47-A775-AB0E0CCCAF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40531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test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Footer Placeholder 5">
            <a:extLst>
              <a:ext uri="{FF2B5EF4-FFF2-40B4-BE49-F238E27FC236}">
                <a16:creationId xmlns:a16="http://schemas.microsoft.com/office/drawing/2014/main" id="{16BA2CBA-E188-9046-874C-3E46C0B8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246589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Overfitting - Partitio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6F89562-CBB1-E44D-8238-F62E5861C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7848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122175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not always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14ED30B5-3962-294C-824D-CC04CDFCB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89457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la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6" name="Next Glass Wine &amp; Beer Ap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5964" y="1394980"/>
            <a:ext cx="7232073" cy="40680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2525" y="5503026"/>
            <a:ext cx="6944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ext Glass is now out of business but leveraged chemistry &amp; modeling for it’s business model.</a:t>
            </a:r>
          </a:p>
        </p:txBody>
      </p:sp>
    </p:spTree>
    <p:extLst>
      <p:ext uri="{BB962C8B-B14F-4D97-AF65-F5344CB8AC3E}">
        <p14:creationId xmlns:p14="http://schemas.microsoft.com/office/powerpoint/2010/main" val="155851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9706" y="2812630"/>
            <a:ext cx="2283619" cy="2245524"/>
            <a:chOff x="2293158" y="1838325"/>
            <a:chExt cx="4567238" cy="4491048"/>
          </a:xfrm>
        </p:grpSpPr>
        <p:sp>
          <p:nvSpPr>
            <p:cNvPr id="7" name="Flowchart: Magnetic Disk 6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Isosceles Triangle 17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1" name="Group 80"/>
          <p:cNvGrpSpPr>
            <a:grpSpLocks noChangeAspect="1"/>
          </p:cNvGrpSpPr>
          <p:nvPr/>
        </p:nvGrpSpPr>
        <p:grpSpPr>
          <a:xfrm>
            <a:off x="6029109" y="2795543"/>
            <a:ext cx="2316871" cy="2279699"/>
            <a:chOff x="2288381" y="1838325"/>
            <a:chExt cx="4564278" cy="4491048"/>
          </a:xfrm>
        </p:grpSpPr>
        <p:sp>
          <p:nvSpPr>
            <p:cNvPr id="55" name="Flowchart: Magnetic Disk 54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lowchart: Magnetic Disk 55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lowchart: Magnetic Disk 56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lowchart: Magnetic Disk 57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lowchart: Magnetic Disk 58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lowchart: Magnetic Disk 59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lowchart: Magnetic Disk 60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lowchart: Magnetic Disk 61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lowchart: Magnetic Disk 62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lowchart: Magnetic Disk 63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lowchart: Magnetic Disk 66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Flowchart: Magnetic Disk 67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Flowchart: Magnetic Disk 68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Flowchart: Magnetic Disk 69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Flowchart: Magnetic Disk 70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Flowchart: Magnetic Disk 71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Flowchart: Magnetic Disk 72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Flowchart: Magnetic Disk 73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Flowchart: Magnetic Disk 78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Flowchart: Magnetic Disk 79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3339619" y="2795543"/>
            <a:ext cx="2316871" cy="2279699"/>
            <a:chOff x="2288381" y="1838325"/>
            <a:chExt cx="4564278" cy="4491048"/>
          </a:xfrm>
        </p:grpSpPr>
        <p:sp>
          <p:nvSpPr>
            <p:cNvPr id="83" name="Flowchart: Magnetic Disk 82"/>
            <p:cNvSpPr>
              <a:spLocks noChangeAspect="1"/>
            </p:cNvSpPr>
            <p:nvPr/>
          </p:nvSpPr>
          <p:spPr>
            <a:xfrm>
              <a:off x="2288381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Flowchart: Magnetic Disk 83"/>
            <p:cNvSpPr>
              <a:spLocks noChangeAspect="1"/>
            </p:cNvSpPr>
            <p:nvPr/>
          </p:nvSpPr>
          <p:spPr>
            <a:xfrm>
              <a:off x="2288381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5" name="Flowchart: Magnetic Disk 84"/>
            <p:cNvSpPr>
              <a:spLocks noChangeAspect="1"/>
            </p:cNvSpPr>
            <p:nvPr/>
          </p:nvSpPr>
          <p:spPr>
            <a:xfrm>
              <a:off x="2288381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Flowchart: Magnetic Disk 85"/>
            <p:cNvSpPr>
              <a:spLocks noChangeAspect="1"/>
            </p:cNvSpPr>
            <p:nvPr/>
          </p:nvSpPr>
          <p:spPr>
            <a:xfrm>
              <a:off x="2288381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lowchart: Magnetic Disk 86"/>
            <p:cNvSpPr>
              <a:spLocks noChangeAspect="1"/>
            </p:cNvSpPr>
            <p:nvPr/>
          </p:nvSpPr>
          <p:spPr>
            <a:xfrm>
              <a:off x="2288381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Flowchart: Magnetic Disk 87"/>
            <p:cNvSpPr>
              <a:spLocks noChangeAspect="1"/>
            </p:cNvSpPr>
            <p:nvPr/>
          </p:nvSpPr>
          <p:spPr>
            <a:xfrm>
              <a:off x="2288381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Flowchart: Magnetic Disk 88"/>
            <p:cNvSpPr>
              <a:spLocks noChangeAspect="1"/>
            </p:cNvSpPr>
            <p:nvPr/>
          </p:nvSpPr>
          <p:spPr>
            <a:xfrm>
              <a:off x="2288381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Flowchart: Magnetic Disk 89"/>
            <p:cNvSpPr>
              <a:spLocks noChangeAspect="1"/>
            </p:cNvSpPr>
            <p:nvPr/>
          </p:nvSpPr>
          <p:spPr>
            <a:xfrm>
              <a:off x="2288381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Flowchart: Magnetic Disk 90"/>
            <p:cNvSpPr>
              <a:spLocks noChangeAspect="1"/>
            </p:cNvSpPr>
            <p:nvPr/>
          </p:nvSpPr>
          <p:spPr>
            <a:xfrm>
              <a:off x="2288381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2" name="Flowchart: Magnetic Disk 91"/>
            <p:cNvSpPr>
              <a:spLocks noChangeAspect="1"/>
            </p:cNvSpPr>
            <p:nvPr/>
          </p:nvSpPr>
          <p:spPr>
            <a:xfrm>
              <a:off x="2288381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Isosceles Triangle 92"/>
            <p:cNvSpPr>
              <a:spLocks noChangeAspect="1"/>
            </p:cNvSpPr>
            <p:nvPr/>
          </p:nvSpPr>
          <p:spPr>
            <a:xfrm rot="5400000">
              <a:off x="3009900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lowchart: Magnetic Disk 93"/>
            <p:cNvSpPr>
              <a:spLocks noChangeAspect="1"/>
            </p:cNvSpPr>
            <p:nvPr/>
          </p:nvSpPr>
          <p:spPr>
            <a:xfrm>
              <a:off x="4852409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lowchart: Magnetic Disk 94"/>
            <p:cNvSpPr>
              <a:spLocks noChangeAspect="1"/>
            </p:cNvSpPr>
            <p:nvPr/>
          </p:nvSpPr>
          <p:spPr>
            <a:xfrm>
              <a:off x="4852409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lowchart: Magnetic Disk 95"/>
            <p:cNvSpPr>
              <a:spLocks noChangeAspect="1"/>
            </p:cNvSpPr>
            <p:nvPr/>
          </p:nvSpPr>
          <p:spPr>
            <a:xfrm>
              <a:off x="4852409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lowchart: Magnetic Disk 96"/>
            <p:cNvSpPr>
              <a:spLocks noChangeAspect="1"/>
            </p:cNvSpPr>
            <p:nvPr/>
          </p:nvSpPr>
          <p:spPr>
            <a:xfrm>
              <a:off x="4852409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lowchart: Magnetic Disk 97"/>
            <p:cNvSpPr>
              <a:spLocks noChangeAspect="1"/>
            </p:cNvSpPr>
            <p:nvPr/>
          </p:nvSpPr>
          <p:spPr>
            <a:xfrm>
              <a:off x="4852409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lowchart: Magnetic Disk 98"/>
            <p:cNvSpPr>
              <a:spLocks noChangeAspect="1"/>
            </p:cNvSpPr>
            <p:nvPr/>
          </p:nvSpPr>
          <p:spPr>
            <a:xfrm>
              <a:off x="4852409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lowchart: Magnetic Disk 99"/>
            <p:cNvSpPr>
              <a:spLocks noChangeAspect="1"/>
            </p:cNvSpPr>
            <p:nvPr/>
          </p:nvSpPr>
          <p:spPr>
            <a:xfrm>
              <a:off x="4852409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lowchart: Magnetic Disk 100"/>
            <p:cNvSpPr>
              <a:spLocks noChangeAspect="1"/>
            </p:cNvSpPr>
            <p:nvPr/>
          </p:nvSpPr>
          <p:spPr>
            <a:xfrm>
              <a:off x="4852409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lowchart: Magnetic Disk 101"/>
            <p:cNvSpPr>
              <a:spLocks noChangeAspect="1"/>
            </p:cNvSpPr>
            <p:nvPr/>
          </p:nvSpPr>
          <p:spPr>
            <a:xfrm>
              <a:off x="4852409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lowchart: Magnetic Disk 102"/>
            <p:cNvSpPr>
              <a:spLocks noChangeAspect="1"/>
            </p:cNvSpPr>
            <p:nvPr/>
          </p:nvSpPr>
          <p:spPr>
            <a:xfrm>
              <a:off x="4852409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999345" y="2111384"/>
            <a:ext cx="1104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431576" y="2111384"/>
            <a:ext cx="2132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/Validation/Test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15772" y="1972885"/>
            <a:ext cx="1943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Engineering/Train/</a:t>
            </a:r>
          </a:p>
          <a:p>
            <a:pPr algn="ctr"/>
            <a:r>
              <a:rPr lang="en-US" dirty="0"/>
              <a:t>Validation/Tes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26787" y="1265905"/>
            <a:ext cx="32191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u="sng" dirty="0"/>
              <a:t>Open </a:t>
            </a:r>
            <a:r>
              <a:rPr lang="en-US" sz="2400" b="1" u="sng" dirty="0" err="1"/>
              <a:t>B_anotherGlass.R</a:t>
            </a:r>
            <a:endParaRPr lang="en-US" sz="2400" b="1" u="sng" dirty="0"/>
          </a:p>
        </p:txBody>
      </p:sp>
      <p:sp>
        <p:nvSpPr>
          <p:cNvPr id="76" name="Footer Placeholder 5">
            <a:extLst>
              <a:ext uri="{FF2B5EF4-FFF2-40B4-BE49-F238E27FC236}">
                <a16:creationId xmlns:a16="http://schemas.microsoft.com/office/drawing/2014/main" id="{9F10186E-7B18-9346-B7E5-6D6426C247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0257655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6" name="Rectangle 3"/>
          <p:cNvSpPr txBox="1">
            <a:spLocks/>
          </p:cNvSpPr>
          <p:nvPr/>
        </p:nvSpPr>
        <p:spPr>
          <a:xfrm>
            <a:off x="914400" y="16002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2400" dirty="0">
                <a:latin typeface="Franklin Gothic Book" pitchFamily="34" charset="0"/>
              </a:rPr>
              <a:t>Data Mining: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Supervised - Classification &amp; Prediction</a:t>
            </a:r>
          </a:p>
          <a:p>
            <a:pPr lvl="1"/>
            <a:r>
              <a:rPr lang="en-US" altLang="en-US" sz="2100" dirty="0">
                <a:latin typeface="Franklin Gothic Book" pitchFamily="34" charset="0"/>
              </a:rPr>
              <a:t>Unsupervised-  Association Rules, Data Reduction, Data Exploration &amp; Visualization</a:t>
            </a:r>
          </a:p>
          <a:p>
            <a:r>
              <a:rPr lang="en-US" altLang="en-US" sz="2400" dirty="0">
                <a:latin typeface="Franklin Gothic Book" pitchFamily="34" charset="0"/>
              </a:rPr>
              <a:t>Before algorithms can be applied, data must be explored then pre-processed (treated)</a:t>
            </a:r>
          </a:p>
          <a:p>
            <a:r>
              <a:rPr lang="en-US" altLang="en-US" sz="2400" dirty="0">
                <a:latin typeface="Franklin Gothic Book" pitchFamily="34" charset="0"/>
              </a:rPr>
              <a:t>To evaluate performance and to avoid overfitting, data partitioning is used</a:t>
            </a:r>
          </a:p>
          <a:p>
            <a:r>
              <a:rPr lang="en-US" altLang="en-US" sz="2400" dirty="0">
                <a:latin typeface="Franklin Gothic Book" pitchFamily="34" charset="0"/>
              </a:rPr>
              <a:t>Models are fit to the training partition and assessed on the validation and test partitions</a:t>
            </a:r>
          </a:p>
          <a:p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4771" y="5453149"/>
            <a:ext cx="8046720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day’s lesson explores partitioning and simple prediction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6033828-A9F3-F84B-8E44-FCE10CDBD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204698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6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6781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upervised Learn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8800"/>
            <a:ext cx="7772400" cy="4572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Goal: Predict a single “target” or “outcome” variable 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raining data, where target value is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Score to data where value is not know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Methods: Classification and </a:t>
            </a:r>
            <a:r>
              <a:rPr lang="en-US" altLang="en-US" u="sng" dirty="0">
                <a:latin typeface="Franklin Gothic Book" pitchFamily="34" charset="0"/>
              </a:rPr>
              <a:t>Prediction</a:t>
            </a:r>
          </a:p>
          <a:p>
            <a:pPr eaLnBrk="1" hangingPunct="1"/>
            <a:endParaRPr lang="en-US" altLang="en-US" dirty="0">
              <a:latin typeface="Franklin Gothic Book" pitchFamily="34" charset="0"/>
            </a:endParaRPr>
          </a:p>
          <a:p>
            <a:pPr eaLnBrk="1" hangingPunct="1">
              <a:buFont typeface="Wingdings 2" pitchFamily="18" charset="2"/>
              <a:buNone/>
            </a:pPr>
            <a:endParaRPr lang="en-US" altLang="en-US" dirty="0">
              <a:latin typeface="Franklin Gothic Book" pitchFamily="34" charset="0"/>
            </a:endParaRP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44024948-E463-764F-B1B4-58E5D4C9D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615343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/>
          <p:cNvGrpSpPr/>
          <p:nvPr/>
        </p:nvGrpSpPr>
        <p:grpSpPr>
          <a:xfrm>
            <a:off x="3168253" y="3206413"/>
            <a:ext cx="980217" cy="916620"/>
            <a:chOff x="4044175" y="930800"/>
            <a:chExt cx="806099" cy="730199"/>
          </a:xfrm>
        </p:grpSpPr>
        <p:sp>
          <p:nvSpPr>
            <p:cNvPr id="9" name="Shape 281"/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/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/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/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/>
          <p:cNvSpPr txBox="1"/>
          <p:nvPr/>
        </p:nvSpPr>
        <p:spPr>
          <a:xfrm>
            <a:off x="3217045" y="2180174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/>
          <p:cNvSpPr txBox="1"/>
          <p:nvPr/>
        </p:nvSpPr>
        <p:spPr>
          <a:xfrm>
            <a:off x="5133549" y="2305933"/>
            <a:ext cx="1403458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lgorithm</a:t>
            </a:r>
          </a:p>
        </p:txBody>
      </p:sp>
      <p:sp>
        <p:nvSpPr>
          <p:cNvPr id="15" name="Shape 287"/>
          <p:cNvSpPr txBox="1"/>
          <p:nvPr/>
        </p:nvSpPr>
        <p:spPr>
          <a:xfrm>
            <a:off x="2843237" y="4507849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/>
          <p:cNvSpPr txBox="1"/>
          <p:nvPr/>
        </p:nvSpPr>
        <p:spPr>
          <a:xfrm>
            <a:off x="5053179" y="4507850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/>
          <p:cNvSpPr txBox="1"/>
          <p:nvPr/>
        </p:nvSpPr>
        <p:spPr>
          <a:xfrm>
            <a:off x="7154613" y="4507850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Use the model to make predictions for the target label on the new data.  </a:t>
            </a:r>
          </a:p>
        </p:txBody>
      </p:sp>
      <p:sp>
        <p:nvSpPr>
          <p:cNvPr id="18" name="Shape 290"/>
          <p:cNvSpPr txBox="1"/>
          <p:nvPr/>
        </p:nvSpPr>
        <p:spPr>
          <a:xfrm>
            <a:off x="7133564" y="2319692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24" name="Shape 296"/>
          <p:cNvSpPr/>
          <p:nvPr/>
        </p:nvSpPr>
        <p:spPr>
          <a:xfrm>
            <a:off x="4287424" y="3206513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5" name="Shape 29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194086" y="3347602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29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049483" y="3125850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Shape 299"/>
          <p:cNvGrpSpPr/>
          <p:nvPr/>
        </p:nvGrpSpPr>
        <p:grpSpPr>
          <a:xfrm>
            <a:off x="7001844" y="2971801"/>
            <a:ext cx="1869736" cy="1124344"/>
            <a:chOff x="7143751" y="2114551"/>
            <a:chExt cx="1869736" cy="1124344"/>
          </a:xfrm>
        </p:grpSpPr>
        <p:grpSp>
          <p:nvGrpSpPr>
            <p:cNvPr id="28" name="Shape 300"/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2" name="Shape 301"/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2"/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4" name="Shape 303"/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5" name="Shape 304"/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9" name="Shape 30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" name="Shape 306"/>
            <p:cNvCxnSpPr>
              <a:endCxn id="31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31" name="Shape 307"/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6" name="Shape 308"/>
          <p:cNvCxnSpPr/>
          <p:nvPr/>
        </p:nvCxnSpPr>
        <p:spPr>
          <a:xfrm>
            <a:off x="334750" y="4499899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7" name="Shape 292"/>
          <p:cNvSpPr txBox="1"/>
          <p:nvPr/>
        </p:nvSpPr>
        <p:spPr>
          <a:xfrm>
            <a:off x="144127" y="2319691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Context</a:t>
            </a:r>
          </a:p>
        </p:txBody>
      </p:sp>
      <p:sp>
        <p:nvSpPr>
          <p:cNvPr id="38" name="Shape 293"/>
          <p:cNvSpPr txBox="1"/>
          <p:nvPr/>
        </p:nvSpPr>
        <p:spPr>
          <a:xfrm>
            <a:off x="188827" y="2748906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39" name="Shape 294"/>
          <p:cNvSpPr txBox="1"/>
          <p:nvPr/>
        </p:nvSpPr>
        <p:spPr>
          <a:xfrm>
            <a:off x="188827" y="3156119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40" name="Shape 295"/>
          <p:cNvSpPr txBox="1"/>
          <p:nvPr/>
        </p:nvSpPr>
        <p:spPr>
          <a:xfrm>
            <a:off x="188827" y="378706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Sports Analytic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How many points will the Bears’ QB score?  What is the Bears’ probability of winning? </a:t>
            </a:r>
          </a:p>
        </p:txBody>
      </p:sp>
      <p:sp>
        <p:nvSpPr>
          <p:cNvPr id="41" name="Shape 288"/>
          <p:cNvSpPr txBox="1"/>
          <p:nvPr/>
        </p:nvSpPr>
        <p:spPr>
          <a:xfrm>
            <a:off x="635781" y="4574525"/>
            <a:ext cx="1726291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Requires expertise and stakeholder buy in</a:t>
            </a:r>
          </a:p>
        </p:txBody>
      </p:sp>
      <p:sp>
        <p:nvSpPr>
          <p:cNvPr id="42" name="Footer Placeholder 5">
            <a:extLst>
              <a:ext uri="{FF2B5EF4-FFF2-40B4-BE49-F238E27FC236}">
                <a16:creationId xmlns:a16="http://schemas.microsoft.com/office/drawing/2014/main" id="{8ACCC4AA-49A7-8A46-8872-BB55B839D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04230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2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1" y="1714500"/>
            <a:ext cx="523875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 using linear regress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3340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is an initial starting algorithm. It puts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902" y="3960145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A3257694-CBCA-0A4F-BFA8-7C59569A3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764141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FF763AB2-9B57-A642-868C-A8E20013A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>
            <a:stCxn id="21" idx="2"/>
            <a:endCxn id="29" idx="0"/>
          </p:cNvCxnSpPr>
          <p:nvPr/>
        </p:nvCxnSpPr>
        <p:spPr>
          <a:xfrm>
            <a:off x="1521229" y="2676698"/>
            <a:ext cx="141310" cy="714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32261" y="1363287"/>
            <a:ext cx="2177935" cy="131341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utcome:</a:t>
            </a:r>
          </a:p>
          <a:p>
            <a:pPr algn="ctr"/>
            <a:r>
              <a:rPr lang="en-US" dirty="0"/>
              <a:t>The “dependent”, “y” or “target”.</a:t>
            </a:r>
          </a:p>
          <a:p>
            <a:pPr algn="ctr"/>
            <a:r>
              <a:rPr lang="en-US" sz="1400" i="1" dirty="0"/>
              <a:t>Number of Ice Cream Con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496284" y="3391593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F1D7D29-F21A-A843-A684-F1AA165704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9974782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/>
          <p:cNvCxnSpPr>
            <a:stCxn id="21" idx="0"/>
            <a:endCxn id="23" idx="2"/>
          </p:cNvCxnSpPr>
          <p:nvPr/>
        </p:nvCxnSpPr>
        <p:spPr>
          <a:xfrm flipV="1">
            <a:off x="2128058" y="2859578"/>
            <a:ext cx="216125" cy="847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32014" y="3707487"/>
            <a:ext cx="3192088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tant:</a:t>
            </a:r>
          </a:p>
          <a:p>
            <a:pPr algn="ctr"/>
            <a:r>
              <a:rPr lang="en-US" dirty="0"/>
              <a:t>The “intercept” or “beta-naught” has no predictor associated with it. </a:t>
            </a:r>
          </a:p>
          <a:p>
            <a:pPr algn="ctr"/>
            <a:r>
              <a:rPr lang="en-US" sz="1400" i="1" dirty="0"/>
              <a:t>Avg. Number of Ice Cream Cones expected to sell if predictors were all 0.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177928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C18B81C-DF86-194E-AC2D-8641713CA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002535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21" idx="0"/>
            <a:endCxn id="31" idx="2"/>
          </p:cNvCxnSpPr>
          <p:nvPr/>
        </p:nvCxnSpPr>
        <p:spPr>
          <a:xfrm flipH="1" flipV="1">
            <a:off x="3341717" y="2859578"/>
            <a:ext cx="85621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1" idx="0"/>
            <a:endCxn id="33" idx="2"/>
          </p:cNvCxnSpPr>
          <p:nvPr/>
        </p:nvCxnSpPr>
        <p:spPr>
          <a:xfrm flipV="1">
            <a:off x="4197928" y="2845723"/>
            <a:ext cx="144087" cy="10778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21" idx="0"/>
            <a:endCxn id="36" idx="2"/>
          </p:cNvCxnSpPr>
          <p:nvPr/>
        </p:nvCxnSpPr>
        <p:spPr>
          <a:xfrm flipV="1">
            <a:off x="4197928" y="2829098"/>
            <a:ext cx="1906385" cy="10945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dictors:</a:t>
            </a:r>
          </a:p>
          <a:p>
            <a:pPr algn="ctr"/>
            <a:r>
              <a:rPr lang="en-US" dirty="0"/>
              <a:t>The “informative features”, “x” or “independent” variables.  </a:t>
            </a:r>
          </a:p>
          <a:p>
            <a:pPr algn="ctr"/>
            <a:r>
              <a:rPr lang="en-US" sz="1400" i="1" dirty="0"/>
              <a:t>Variables affecting sales in the data, temp, day, &amp; price. 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17546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4175760" y="2446712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5938058" y="243008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72B20728-E4B2-324E-B66C-1C7B142AE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9517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>
            <a:stCxn id="21" idx="0"/>
            <a:endCxn id="23" idx="2"/>
          </p:cNvCxnSpPr>
          <p:nvPr/>
        </p:nvCxnSpPr>
        <p:spPr>
          <a:xfrm flipH="1" flipV="1">
            <a:off x="3025837" y="2859578"/>
            <a:ext cx="1172091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21" idx="0"/>
            <a:endCxn id="24" idx="2"/>
          </p:cNvCxnSpPr>
          <p:nvPr/>
        </p:nvCxnSpPr>
        <p:spPr>
          <a:xfrm flipH="1" flipV="1">
            <a:off x="4023352" y="2859578"/>
            <a:ext cx="174576" cy="1064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1" idx="0"/>
            <a:endCxn id="25" idx="2"/>
          </p:cNvCxnSpPr>
          <p:nvPr/>
        </p:nvCxnSpPr>
        <p:spPr>
          <a:xfrm flipV="1">
            <a:off x="4197928" y="2862349"/>
            <a:ext cx="1540620" cy="10612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876204" y="3923619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efficients:</a:t>
            </a:r>
          </a:p>
          <a:p>
            <a:pPr algn="ctr"/>
            <a:r>
              <a:rPr lang="en-US" dirty="0"/>
              <a:t>The “weight”, “betas” or “coefficients” multiplied with the specific “x” variable value.  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859582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857097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5572293" y="2463338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63DC660-19FD-0F4D-BD02-7A08C6239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595053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219509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>
            <a:stCxn id="21" idx="0"/>
            <a:endCxn id="16" idx="2"/>
          </p:cNvCxnSpPr>
          <p:nvPr/>
        </p:nvCxnSpPr>
        <p:spPr>
          <a:xfrm flipH="1" flipV="1">
            <a:off x="6749926" y="2859578"/>
            <a:ext cx="58198" cy="914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486400" y="3773990"/>
            <a:ext cx="2643447" cy="164590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:</a:t>
            </a:r>
          </a:p>
          <a:p>
            <a:pPr algn="ctr"/>
            <a:r>
              <a:rPr lang="en-US" dirty="0"/>
              <a:t>The “error” or “noise” represents the value the equation is wrong compared to the actual Y.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83671" y="2460567"/>
            <a:ext cx="332509" cy="3990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B17D141-E002-FB47-8314-0F77C200A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779714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combinations of beta coefficients seeks to minimize the squared errors between the actual Y values and the equation.   </a:t>
            </a:r>
            <a:r>
              <a:rPr lang="en-US" b="1" dirty="0">
                <a:solidFill>
                  <a:schemeClr val="tx1"/>
                </a:solidFill>
              </a:rPr>
              <a:t>This combination manifests as the “best fit line”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351499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>
          <mc:Choice xmlns:a14="http://schemas.microsoft.com/office/drawing/2010/main"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dirty="0"/>
                    <a:t> </a:t>
                  </a:r>
                  <a:r>
                    <a:rPr lang="en-US" dirty="0"/>
                    <a:t>0.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dirty="0"/>
                    <a:t> </a:t>
                  </a:r>
                  <a:r>
                    <a:rPr lang="en-US" dirty="0"/>
                    <a:t>-0.5</a:t>
                  </a:r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750" b="-24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02560"/>
              </p:ext>
            </p:extLst>
          </p:nvPr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7CD9B0F-BAC7-9848-B6F6-BECF05BE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0477561"/>
              </p:ext>
            </p:extLst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6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0534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>
          <mc:Choice xmlns:a14="http://schemas.microsoft.com/office/drawing/2010/main"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dirty="0"/>
                    <a:t> </a:t>
                  </a:r>
                  <a:r>
                    <a:rPr lang="en-US" dirty="0"/>
                    <a:t>0.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dirty="0"/>
                    <a:t> </a:t>
                  </a:r>
                  <a14:m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dirty="0"/>
                    <a:t> </a:t>
                  </a:r>
                  <a:r>
                    <a:rPr lang="en-US" dirty="0"/>
                    <a:t>-0.5</a:t>
                  </a:r>
                  <a:r>
                    <a:rPr lang="en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750" b="-24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Minimizing the Sum of Ordinary Least Squared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53E33A6-CC58-6B42-8D94-6C61B704B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8934450" cy="591477"/>
          </a:xfrm>
        </p:spPr>
        <p:txBody>
          <a:bodyPr/>
          <a:lstStyle/>
          <a:p>
            <a:r>
              <a:rPr lang="en-US" sz="3200" dirty="0"/>
              <a:t>Big Err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421129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1961805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5311831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5313217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5400249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5400249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sp>
        <p:nvSpPr>
          <p:cNvPr id="19" name="Oval 18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219862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086100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005511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2902557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009900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438650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461523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ooter Placeholder 5">
            <a:extLst>
              <a:ext uri="{FF2B5EF4-FFF2-40B4-BE49-F238E27FC236}">
                <a16:creationId xmlns:a16="http://schemas.microsoft.com/office/drawing/2014/main" id="{84CDA995-4632-AD4B-9075-874D80C9BB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267532" y="1271849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1273235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94803" y="1360267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6656" y="1360267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102993"/>
              </p:ext>
            </p:extLst>
          </p:nvPr>
        </p:nvGraphicFramePr>
        <p:xfrm>
          <a:off x="1270958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638982"/>
              </p:ext>
            </p:extLst>
          </p:nvPr>
        </p:nvGraphicFramePr>
        <p:xfrm>
          <a:off x="5392273" y="2156844"/>
          <a:ext cx="942604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redic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978265"/>
              </p:ext>
            </p:extLst>
          </p:nvPr>
        </p:nvGraphicFramePr>
        <p:xfrm>
          <a:off x="7890233" y="2156844"/>
          <a:ext cx="849671" cy="2451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Err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6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-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1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-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91593" y="315884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727768" y="2812481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27768" y="3144990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565265" y="5004270"/>
            <a:ext cx="7946968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84350" y="5455519"/>
            <a:ext cx="63193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(18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6 + 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sz="2400" dirty="0"/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sz="2400" b="1" dirty="0">
                <a:solidFill>
                  <a:schemeClr val="accent1"/>
                </a:solidFill>
              </a:rPr>
              <a:t> + </a:t>
            </a:r>
            <a:r>
              <a:rPr lang="en-US" sz="2400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  <a:r>
              <a:rPr lang="en-US" sz="2400" dirty="0"/>
              <a:t>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sz="2400" dirty="0"/>
              <a:t> +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39)</a:t>
            </a:r>
            <a:r>
              <a:rPr lang="en-US" sz="2400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64035" y="5408823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664035" y="5741332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7747459" y="5286895"/>
            <a:ext cx="6014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-3</a:t>
            </a:r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35097F8E-0B0D-F346-8CD8-D5AADD753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DF86F6-69F4-E44A-A229-A46DCB5869E2}"/>
              </a:ext>
            </a:extLst>
          </p:cNvPr>
          <p:cNvSpPr/>
          <p:nvPr/>
        </p:nvSpPr>
        <p:spPr>
          <a:xfrm>
            <a:off x="1286933" y="3496733"/>
            <a:ext cx="7459134" cy="440267"/>
          </a:xfrm>
          <a:prstGeom prst="rect">
            <a:avLst/>
          </a:prstGeom>
          <a:solidFill>
            <a:srgbClr val="A51C3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41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3" grpId="0" animBg="1"/>
      <p:bldP spid="14" grpId="0" animBg="1"/>
      <p:bldP spid="15" grpId="0" animBg="1"/>
      <p:bldP spid="19" grpId="0"/>
      <p:bldP spid="21" grpId="0" animBg="1"/>
      <p:bldP spid="22" grpId="0" animBg="1"/>
      <p:bldP spid="2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quared Err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2508" y="1273235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Without squaring the errors positive &amp; negative prediction errors cancel each other out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5428" y="2612573"/>
            <a:ext cx="5585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(1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68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1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-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baseline="30000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+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18</a:t>
            </a:r>
            <a:r>
              <a:rPr lang="en-US" b="1" baseline="30000" dirty="0">
                <a:solidFill>
                  <a:schemeClr val="accent1"/>
                </a:solidFill>
                <a:latin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1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-5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9</a:t>
            </a:r>
            <a:r>
              <a:rPr lang="en-US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82394" y="3995666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982394" y="4328175"/>
            <a:ext cx="864523" cy="18288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85155" y="5465620"/>
            <a:ext cx="8478985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quaring the error means all errors have the same impact on the optimization func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95" y="4058989"/>
            <a:ext cx="5833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24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36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81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4624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961 + 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+ 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Calibri" panose="020F0502020204030204" pitchFamily="34" charset="0"/>
              </a:rPr>
              <a:t>324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25 + </a:t>
            </a:r>
            <a:r>
              <a:rPr lang="en-US" dirty="0"/>
              <a:t>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25</a:t>
            </a:r>
            <a:r>
              <a:rPr lang="en-US" dirty="0"/>
              <a:t> +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1521</a:t>
            </a:r>
            <a:r>
              <a:rPr lang="en-US" dirty="0"/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32572" y="3857106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/>
              <a:t>8445</a:t>
            </a:r>
          </a:p>
        </p:txBody>
      </p:sp>
      <p:sp>
        <p:nvSpPr>
          <p:cNvPr id="18" name="Down Arrow 17"/>
          <p:cNvSpPr/>
          <p:nvPr/>
        </p:nvSpPr>
        <p:spPr>
          <a:xfrm>
            <a:off x="2793452" y="3158836"/>
            <a:ext cx="349135" cy="7980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8618E73-0F32-2A4C-904C-C8544B900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7390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3541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Regressio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DC98856-D1A5-824F-835D-56AC03F713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392" y="3007895"/>
            <a:ext cx="3720283" cy="1184108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pic>
        <p:nvPicPr>
          <p:cNvPr id="17410" name="Picture 2" descr="children of the corn crazy eyes rivalry sibling - 658547148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265" y="1398242"/>
            <a:ext cx="3761220" cy="400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65761" y="2211184"/>
            <a:ext cx="4505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positive relationship between number of rooms and housing price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007" y="1446415"/>
            <a:ext cx="4692855" cy="63176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Reviewing beta coefficients can explain relationships, some positive, some negative &gt;&gt;&gt;</a:t>
            </a:r>
          </a:p>
        </p:txBody>
      </p:sp>
      <p:sp>
        <p:nvSpPr>
          <p:cNvPr id="10" name="Oval 9"/>
          <p:cNvSpPr/>
          <p:nvPr/>
        </p:nvSpPr>
        <p:spPr>
          <a:xfrm>
            <a:off x="637236" y="3742478"/>
            <a:ext cx="714895" cy="4322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21426" y="4527664"/>
            <a:ext cx="45054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/>
              <a:t>Holding all other inputs constant </a:t>
            </a:r>
            <a:r>
              <a:rPr lang="en-US" dirty="0"/>
              <a:t>the median price would increase $3655 for each room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0AC6495A-84FB-CE45-A81C-668168955C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918899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Explain relationship between predictors (explanatory variables) and target 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Familiar use of regression in data analysis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Fit the data well and understand the contribution of explanatory variables to the model</a:t>
            </a:r>
          </a:p>
          <a:p>
            <a:pPr>
              <a:defRPr/>
            </a:pPr>
            <a:endParaRPr lang="en-US">
              <a:latin typeface="Franklin Gothic Book" pitchFamily="34" charset="0"/>
            </a:endParaRP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“goodness-of-fit”: R</a:t>
            </a:r>
            <a:r>
              <a:rPr lang="en-US" baseline="30000">
                <a:latin typeface="Franklin Gothic Book" pitchFamily="34" charset="0"/>
              </a:rPr>
              <a:t>2</a:t>
            </a:r>
            <a:r>
              <a:rPr lang="en-US">
                <a:latin typeface="Franklin Gothic Book" pitchFamily="34" charset="0"/>
              </a:rPr>
              <a:t>, residual analysis, p-values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F009198-D96F-E943-9C87-9741A642E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439335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4A0423-B2D5-1646-86F9-1D8CF70D4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make accurate predictions about the future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21D1001-942F-294E-B190-F0498FEF4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6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0125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325" y="365126"/>
            <a:ext cx="8515350" cy="591477"/>
          </a:xfrm>
        </p:spPr>
        <p:txBody>
          <a:bodyPr/>
          <a:lstStyle/>
          <a:p>
            <a:r>
              <a:rPr lang="en-US" dirty="0"/>
              <a:t>How does truecar.com know the price is “great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535" y="1146510"/>
            <a:ext cx="7661570" cy="4772152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339678D3-32D2-2D4B-81E0-91049E9985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386205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pic>
        <p:nvPicPr>
          <p:cNvPr id="6" name="Picture 4" descr="Successful businessman working with a computer in his office Stock Photo - 1607626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255" y="2381086"/>
            <a:ext cx="4286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eah!  I got a new job!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D815C98-8ED6-DA41-A462-F9829543CC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8976054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pic>
        <p:nvPicPr>
          <p:cNvPr id="20482" name="Picture 2" descr="Image result for car salesm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551" y="2481608"/>
            <a:ext cx="5323173" cy="300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548642" y="1612669"/>
            <a:ext cx="4688378" cy="1429789"/>
          </a:xfrm>
          <a:prstGeom prst="wedgeEllipseCallout">
            <a:avLst>
              <a:gd name="adj1" fmla="val 67150"/>
              <a:gd name="adj2" fmla="val 6691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le, can you predict used car prices?  Then we will know if a car is priced above/below expected value</a:t>
            </a: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Welcome Dale to </a:t>
            </a:r>
            <a:r>
              <a:rPr lang="en-US" dirty="0" err="1"/>
              <a:t>TrueCar’s</a:t>
            </a:r>
            <a:r>
              <a:rPr lang="en-US" dirty="0"/>
              <a:t> Competitor: </a:t>
            </a:r>
            <a:r>
              <a:rPr lang="en-US" dirty="0" err="1"/>
              <a:t>OldCar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D2EBDB9A-A73C-8F4B-9173-C7F9882AA0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9280185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help Dale ag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pic>
        <p:nvPicPr>
          <p:cNvPr id="6" name="Picture 6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9628" y="2599488"/>
            <a:ext cx="4774479" cy="268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Callout 6"/>
          <p:cNvSpPr/>
          <p:nvPr/>
        </p:nvSpPr>
        <p:spPr>
          <a:xfrm>
            <a:off x="3175464" y="1379912"/>
            <a:ext cx="4688378" cy="1429789"/>
          </a:xfrm>
          <a:prstGeom prst="wedgeEllipseCallout">
            <a:avLst>
              <a:gd name="adj1" fmla="val -53063"/>
              <a:gd name="adj2" fmla="val 8086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t of course.  This sounds like a predictive modeling project.  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3C3A30A-9D0A-2B43-A615-F95A0DE5D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96453771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0025" y="365126"/>
            <a:ext cx="8315325" cy="591477"/>
          </a:xfrm>
        </p:spPr>
        <p:txBody>
          <a:bodyPr/>
          <a:lstStyle/>
          <a:p>
            <a:r>
              <a:rPr lang="en-US" dirty="0"/>
              <a:t>Remember the Workflow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 dirty="0"/>
          </a:p>
        </p:txBody>
      </p:sp>
      <p:sp>
        <p:nvSpPr>
          <p:cNvPr id="6" name="Shape 848"/>
          <p:cNvSpPr txBox="1"/>
          <p:nvPr/>
        </p:nvSpPr>
        <p:spPr>
          <a:xfrm>
            <a:off x="203475" y="3081114"/>
            <a:ext cx="8451300" cy="20909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roblem Formulation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Predict Toyota Prices</a:t>
            </a:r>
            <a:r>
              <a:rPr lang="en" dirty="0">
                <a:latin typeface="Open Sans"/>
                <a:ea typeface="Open Sans"/>
                <a:cs typeface="Open Sans"/>
                <a:sym typeface="Open Sans"/>
              </a:rPr>
              <a:t>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efine data requiremen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Use car attributes 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Explore the data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in script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Perform Analysis &amp; Create Project Artifac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fit a linear regression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Asses/Adjust the Project Artifacts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Adj. R-Squared, P-Values etc.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Communicate Results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examine the coefficients and readout Adj R^2</a:t>
            </a:r>
          </a:p>
          <a:p>
            <a:pPr marL="457200" indent="-304800">
              <a:buSzPct val="100000"/>
              <a:buFont typeface="Open Sans"/>
              <a:buAutoNum type="arabicPeriod"/>
            </a:pPr>
            <a:r>
              <a:rPr lang="en" b="1" dirty="0">
                <a:latin typeface="Open Sans"/>
                <a:ea typeface="Open Sans"/>
                <a:cs typeface="Open Sans"/>
                <a:sym typeface="Open Sans"/>
              </a:rPr>
              <a:t>Document to make it repeatable  </a:t>
            </a:r>
            <a:r>
              <a:rPr lang="en" b="1" dirty="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&gt;&gt; Keep notes in script</a:t>
            </a:r>
          </a:p>
        </p:txBody>
      </p:sp>
      <p:sp>
        <p:nvSpPr>
          <p:cNvPr id="7" name="Shape 836"/>
          <p:cNvSpPr/>
          <p:nvPr/>
        </p:nvSpPr>
        <p:spPr>
          <a:xfrm>
            <a:off x="34620" y="1430370"/>
            <a:ext cx="991379" cy="689700"/>
          </a:xfrm>
          <a:prstGeom prst="homePlate">
            <a:avLst>
              <a:gd name="adj" fmla="val 50000"/>
            </a:avLst>
          </a:prstGeom>
          <a:solidFill>
            <a:srgbClr val="DE732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blem Definition</a:t>
            </a:r>
          </a:p>
        </p:txBody>
      </p:sp>
      <p:sp>
        <p:nvSpPr>
          <p:cNvPr id="8" name="Shape 837"/>
          <p:cNvSpPr/>
          <p:nvPr/>
        </p:nvSpPr>
        <p:spPr>
          <a:xfrm>
            <a:off x="828573" y="1430370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 Available Data Sources</a:t>
            </a:r>
          </a:p>
        </p:txBody>
      </p:sp>
      <p:sp>
        <p:nvSpPr>
          <p:cNvPr id="10" name="Shape 839"/>
          <p:cNvSpPr/>
          <p:nvPr/>
        </p:nvSpPr>
        <p:spPr>
          <a:xfrm>
            <a:off x="2123295" y="1430370"/>
            <a:ext cx="123631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DA</a:t>
            </a:r>
          </a:p>
        </p:txBody>
      </p:sp>
      <p:sp>
        <p:nvSpPr>
          <p:cNvPr id="11" name="Shape 840"/>
          <p:cNvSpPr/>
          <p:nvPr/>
        </p:nvSpPr>
        <p:spPr>
          <a:xfrm>
            <a:off x="6029325" y="1430370"/>
            <a:ext cx="180263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mmunicate Results</a:t>
            </a:r>
          </a:p>
        </p:txBody>
      </p:sp>
      <p:sp>
        <p:nvSpPr>
          <p:cNvPr id="12" name="Shape 841"/>
          <p:cNvSpPr/>
          <p:nvPr/>
        </p:nvSpPr>
        <p:spPr>
          <a:xfrm>
            <a:off x="7634529" y="1430371"/>
            <a:ext cx="1509471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ocument</a:t>
            </a:r>
          </a:p>
        </p:txBody>
      </p:sp>
      <p:sp>
        <p:nvSpPr>
          <p:cNvPr id="21" name="Shape 839"/>
          <p:cNvSpPr/>
          <p:nvPr/>
        </p:nvSpPr>
        <p:spPr>
          <a:xfrm>
            <a:off x="3162184" y="1425606"/>
            <a:ext cx="1492148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form Analyssis </a:t>
            </a:r>
          </a:p>
        </p:txBody>
      </p:sp>
      <p:sp>
        <p:nvSpPr>
          <p:cNvPr id="22" name="Shape 839"/>
          <p:cNvSpPr/>
          <p:nvPr/>
        </p:nvSpPr>
        <p:spPr>
          <a:xfrm>
            <a:off x="4456906" y="1435131"/>
            <a:ext cx="1769845" cy="689700"/>
          </a:xfrm>
          <a:prstGeom prst="chevron">
            <a:avLst>
              <a:gd name="adj" fmla="val 50000"/>
            </a:avLst>
          </a:prstGeom>
          <a:solidFill>
            <a:srgbClr val="3D89C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ssessment</a:t>
            </a:r>
          </a:p>
        </p:txBody>
      </p:sp>
      <p:cxnSp>
        <p:nvCxnSpPr>
          <p:cNvPr id="24" name="Curved Connector 23"/>
          <p:cNvCxnSpPr>
            <a:stCxn id="8" idx="0"/>
            <a:endCxn id="7" idx="0"/>
          </p:cNvCxnSpPr>
          <p:nvPr/>
        </p:nvCxnSpPr>
        <p:spPr>
          <a:xfrm rot="16200000" flipV="1">
            <a:off x="880054" y="908201"/>
            <a:ext cx="12700" cy="1044337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>
            <a:stCxn id="21" idx="0"/>
            <a:endCxn id="8" idx="0"/>
          </p:cNvCxnSpPr>
          <p:nvPr/>
        </p:nvCxnSpPr>
        <p:spPr>
          <a:xfrm rot="16200000" flipH="1" flipV="1">
            <a:off x="2566646" y="261182"/>
            <a:ext cx="4764" cy="2333611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21" idx="0"/>
            <a:endCxn id="7" idx="0"/>
          </p:cNvCxnSpPr>
          <p:nvPr/>
        </p:nvCxnSpPr>
        <p:spPr>
          <a:xfrm rot="16200000" flipH="1" flipV="1">
            <a:off x="2044477" y="-260986"/>
            <a:ext cx="4764" cy="3377948"/>
          </a:xfrm>
          <a:prstGeom prst="curvedConnector3">
            <a:avLst>
              <a:gd name="adj1" fmla="val -4798489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/>
          <p:cNvCxnSpPr>
            <a:stCxn id="22" idx="0"/>
            <a:endCxn id="10" idx="0"/>
          </p:cNvCxnSpPr>
          <p:nvPr/>
        </p:nvCxnSpPr>
        <p:spPr>
          <a:xfrm rot="16200000" flipV="1">
            <a:off x="3866836" y="132563"/>
            <a:ext cx="4761" cy="2600376"/>
          </a:xfrm>
          <a:prstGeom prst="curvedConnector3">
            <a:avLst>
              <a:gd name="adj1" fmla="val 4901512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urved Connector 34"/>
          <p:cNvCxnSpPr>
            <a:stCxn id="11" idx="2"/>
            <a:endCxn id="7" idx="2"/>
          </p:cNvCxnSpPr>
          <p:nvPr/>
        </p:nvCxnSpPr>
        <p:spPr>
          <a:xfrm rot="5400000">
            <a:off x="3558051" y="-1080095"/>
            <a:ext cx="12700" cy="6400331"/>
          </a:xfrm>
          <a:prstGeom prst="curvedConnector3">
            <a:avLst>
              <a:gd name="adj1" fmla="val 18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>
            <a:stCxn id="22" idx="2"/>
            <a:endCxn id="21" idx="2"/>
          </p:cNvCxnSpPr>
          <p:nvPr/>
        </p:nvCxnSpPr>
        <p:spPr>
          <a:xfrm rot="5400000" flipH="1">
            <a:off x="4447856" y="1403284"/>
            <a:ext cx="9525" cy="1433571"/>
          </a:xfrm>
          <a:prstGeom prst="curvedConnector3">
            <a:avLst>
              <a:gd name="adj1" fmla="val -240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594A99A6-A122-7241-A528-F88FE1CE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0083728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505497B-833F-C649-8126-B4C28DC5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B1D592AA-17AC-774D-8119-5A393CA4C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21506" name="Picture 2" descr="Image result for diamonds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877" y="1849957"/>
            <a:ext cx="4857750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1715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2463617" y="5231983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1995084-0CA9-6D42-8B1A-615F443D0F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R, script 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9A8DC6-A5F2-4C44-B5E1-CC6718870E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3B6EC10E-0713-A647-89AD-F2F2FABE0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334BB452-FA0D-474F-9C83-B1E1F41EE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4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AD23BDEA-A70E-C341-89CB-E01AE32EB6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1546694E-9D07-014F-9337-9E1709134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EF1774D-7B2F-764C-8342-3A2A433C4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average amount that the coefficients vary 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65D227B7-0814-9544-B047-9C1F84968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0.  In another way, values away from 0 indicate a real relationship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78C65AE5-8B9A-D746-AE91-5E9B13934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654A954B-6362-5747-912F-EEB797EEA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in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Partitioning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Understanding Regression (simple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univariate)</a:t>
                      </a:r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Build &amp; Evaluate a Multiple Linear</a:t>
                      </a:r>
                      <a:r>
                        <a:rPr lang="en-US" sz="2000" b="0" strike="noStrik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0" strike="noStrike" dirty="0">
                          <a:solidFill>
                            <a:schemeClr val="tx1"/>
                          </a:solidFill>
                        </a:rPr>
                        <a:t>Regress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usekeep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070941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6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0130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C6D381-AD02-C742-899A-CB82C6B044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81464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We could drop ??? Based on p values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91200" y="2493825"/>
            <a:ext cx="1823258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687484"/>
            <a:ext cx="1213658" cy="2019999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81890" y="5752407"/>
            <a:ext cx="7880465" cy="515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What variables should we drop with a p-value &gt;=0.2?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747F358C-CA0D-0649-88E5-16AFA2EF61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2039845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A385-5F86-6A42-BA4C-E9132354F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CA807167-92BA-9C47-8FAE-FAE64B31C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C3444DF-7ADD-EC4E-9B1F-D0667D3EE5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13EE7097-FFEF-F148-8B51-7DCC45D6B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76262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305170"/>
              </p:ext>
            </p:extLst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06DB6D-F1A1-6F41-B598-E2E386F5FF96}"/>
              </a:ext>
            </a:extLst>
          </p:cNvPr>
          <p:cNvSpPr txBox="1"/>
          <p:nvPr/>
        </p:nvSpPr>
        <p:spPr>
          <a:xfrm>
            <a:off x="4983405" y="1647125"/>
            <a:ext cx="544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 sz="3600"/>
              <a:t>The Problem of Overfitting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914400" y="1828800"/>
            <a:ext cx="7772400" cy="4191000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Franklin Gothic Book" pitchFamily="34" charset="0"/>
              </a:rPr>
              <a:t>Statistical models can produce highly complex explanations of relationships between variables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The “fit” may be excellent</a:t>
            </a:r>
          </a:p>
          <a:p>
            <a:pPr eaLnBrk="1" hangingPunct="1"/>
            <a:r>
              <a:rPr lang="en-US" altLang="en-US" dirty="0">
                <a:latin typeface="Franklin Gothic Book" pitchFamily="34" charset="0"/>
              </a:rPr>
              <a:t>When used with </a:t>
            </a:r>
            <a:r>
              <a:rPr lang="en-US" altLang="en-US" u="sng" dirty="0">
                <a:latin typeface="Franklin Gothic Book" pitchFamily="34" charset="0"/>
              </a:rPr>
              <a:t>new</a:t>
            </a:r>
            <a:r>
              <a:rPr lang="en-US" altLang="en-US" dirty="0">
                <a:latin typeface="Franklin Gothic Book" pitchFamily="34" charset="0"/>
              </a:rPr>
              <a:t> data, models of great complexity may do not do so well.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14B7D50C-0022-2E43-8754-3CBFEE1FB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14943828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0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FDCE6B2-0B24-D046-9D4E-36EB93C6F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7F7973B9-1E6D-9746-A569-BB17FC50E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F84F95-C2E8-5743-83EA-CA3C7972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BB5E43-38DF-2945-B1B2-733E74D43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view of overfitting to a probl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5F448-4515-1D4A-BA82-A3EB0EEF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7C3F-1517-C648-982A-F1A148DFF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450" y="2158492"/>
            <a:ext cx="4737100" cy="3175000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E9CD8A6A-0546-234C-8973-614ED403A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638165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17</TotalTime>
  <Words>3255</Words>
  <Application>Microsoft Macintosh PowerPoint</Application>
  <PresentationFormat>On-screen Show (4:3)</PresentationFormat>
  <Paragraphs>771</Paragraphs>
  <Slides>70</Slides>
  <Notes>21</Notes>
  <HiddenSlides>2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0</vt:i4>
      </vt:variant>
    </vt:vector>
  </HeadingPairs>
  <TitlesOfParts>
    <vt:vector size="80" baseType="lpstr">
      <vt:lpstr>Arial</vt:lpstr>
      <vt:lpstr>Calibri</vt:lpstr>
      <vt:lpstr>Calibri Light</vt:lpstr>
      <vt:lpstr>Cambria Math</vt:lpstr>
      <vt:lpstr>Franklin Gothic Book</vt:lpstr>
      <vt:lpstr>Helvetica Neue</vt:lpstr>
      <vt:lpstr>Open Sans</vt:lpstr>
      <vt:lpstr>Wingdings 2</vt:lpstr>
      <vt:lpstr>1_Office Theme</vt:lpstr>
      <vt:lpstr>think-cell Slide</vt:lpstr>
      <vt:lpstr>Regression</vt:lpstr>
      <vt:lpstr>Your Data Mining Toolbox</vt:lpstr>
      <vt:lpstr>Agenda</vt:lpstr>
      <vt:lpstr>Let’s Practice</vt:lpstr>
      <vt:lpstr>PowerPoint Presentation</vt:lpstr>
      <vt:lpstr>Agenda</vt:lpstr>
      <vt:lpstr>The Problem of Overfitting</vt:lpstr>
      <vt:lpstr>100% fit – not useful for new data</vt:lpstr>
      <vt:lpstr>Another view of overfitting to a problem…</vt:lpstr>
      <vt:lpstr>Overfitting, continued.</vt:lpstr>
      <vt:lpstr>Minimize Overfitting - Partitioning</vt:lpstr>
      <vt:lpstr>Minimize Overfitting - Partitioning</vt:lpstr>
      <vt:lpstr>Best Practice </vt:lpstr>
      <vt:lpstr>Next Glass</vt:lpstr>
      <vt:lpstr>Let’s Practice</vt:lpstr>
      <vt:lpstr>Review</vt:lpstr>
      <vt:lpstr>Agenda</vt:lpstr>
      <vt:lpstr>Supervised Learning</vt:lpstr>
      <vt:lpstr>Supervised Learning</vt:lpstr>
      <vt:lpstr>Supervised Learning Example</vt:lpstr>
      <vt:lpstr>Linear Regression for continuous outcomes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The linear combination equation captures information</vt:lpstr>
      <vt:lpstr>PowerPoint Presentation</vt:lpstr>
      <vt:lpstr>PowerPoint Presentation</vt:lpstr>
      <vt:lpstr>Minimizing the Sum of Ordinary Least Squared Errors</vt:lpstr>
      <vt:lpstr>Big Errors</vt:lpstr>
      <vt:lpstr>What’s really going on?</vt:lpstr>
      <vt:lpstr>Why Squared Error?</vt:lpstr>
      <vt:lpstr>Why Squared Error?</vt:lpstr>
      <vt:lpstr>So what is really going on?</vt:lpstr>
      <vt:lpstr>Let’s Practice</vt:lpstr>
      <vt:lpstr>Explanatory Vs Predictive</vt:lpstr>
      <vt:lpstr>Explanatory Modeling</vt:lpstr>
      <vt:lpstr>Predictive Modeling</vt:lpstr>
      <vt:lpstr>Explanatory Vs Predictive Modeling</vt:lpstr>
      <vt:lpstr>Agenda</vt:lpstr>
      <vt:lpstr>How does truecar.com know the price is “great?”</vt:lpstr>
      <vt:lpstr>PowerPoint Presentation</vt:lpstr>
      <vt:lpstr>Welcome Dale to TrueCar’s Competitor: OldCar</vt:lpstr>
      <vt:lpstr>Let’s help Dale again.</vt:lpstr>
      <vt:lpstr>Remember the Workflow?</vt:lpstr>
      <vt:lpstr>Let’s practice.</vt:lpstr>
      <vt:lpstr>Regression is susceptible to multi-colinearity</vt:lpstr>
      <vt:lpstr>Regression is susceptible to multi-colinearity</vt:lpstr>
      <vt:lpstr>Back to R, script D!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MAPE</vt:lpstr>
      <vt:lpstr>Back to script D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Edward Kwartler</cp:lastModifiedBy>
  <cp:revision>277</cp:revision>
  <dcterms:created xsi:type="dcterms:W3CDTF">2018-05-23T17:24:59Z</dcterms:created>
  <dcterms:modified xsi:type="dcterms:W3CDTF">2023-10-17T02:02:03Z</dcterms:modified>
</cp:coreProperties>
</file>